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7"/>
  </p:notesMasterIdLst>
  <p:handoutMasterIdLst>
    <p:handoutMasterId r:id="rId28"/>
  </p:handoutMasterIdLst>
  <p:sldIdLst>
    <p:sldId id="1133" r:id="rId20"/>
    <p:sldId id="2877" r:id="rId21"/>
    <p:sldId id="2889" r:id="rId22"/>
    <p:sldId id="2891" r:id="rId23"/>
    <p:sldId id="2890" r:id="rId24"/>
    <p:sldId id="2883" r:id="rId25"/>
    <p:sldId id="1146" r:id="rId26"/>
  </p:sldIdLst>
  <p:sldSz cx="12198350" cy="6858000"/>
  <p:notesSz cx="7102475" cy="10234613"/>
  <p:custDataLst>
    <p:custData r:id="rId18"/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8" autoAdjust="0"/>
    <p:restoredTop sz="86512" autoAdjust="0"/>
  </p:normalViewPr>
  <p:slideViewPr>
    <p:cSldViewPr snapToGrid="0" snapToObjects="1" showGuides="1">
      <p:cViewPr varScale="1">
        <p:scale>
          <a:sx n="67" d="100"/>
          <a:sy n="67" d="100"/>
        </p:scale>
        <p:origin x="90" y="97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clipsecon.org/2020/sessions/automated-open-source-compliance-action" TargetMode="External"/><Relationship Id="rId2" Type="http://schemas.openxmlformats.org/officeDocument/2006/relationships/hyperlink" Target="https://www.ow2con.org/view/2020/Community_Day_Program?year=2020&amp;event=OW2con20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osseu2020.sched.com/event/eDWk/the-importance-of-non-code-contributions-to-code-centric-open-source-projects-marcel-kurzmann-bosch" TargetMode="External"/><Relationship Id="rId2" Type="http://schemas.openxmlformats.org/officeDocument/2006/relationships/hyperlink" Target="https://osseu2020.sched.com/event/eCG2/leveraging-an-open-source-project-catalogue-to-select-the-right-project-marcel-kurzmann-boschio-gmbh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osseu2020.sched.com/event/eNfO/do-we-need-an-industrial-grade-linux-lars-geyer-blaumeiser-boschio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2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945700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oling setup and use education webin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n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3632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Chain specification is an ISO standard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Chain UK work Group meeting on 30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Sept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esentations about </a:t>
            </a:r>
            <a:r>
              <a:rPr lang="en-US" dirty="0" err="1">
                <a:solidFill>
                  <a:schemeClr val="tx1"/>
                </a:solidFill>
              </a:rPr>
              <a:t>FOSSology</a:t>
            </a:r>
            <a:r>
              <a:rPr lang="en-US" dirty="0">
                <a:solidFill>
                  <a:schemeClr val="tx1"/>
                </a:solidFill>
              </a:rPr>
              <a:t> and sw360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W2 Community Day 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 of Nov in Grenoble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2"/>
              </a:rPr>
              <a:t>https://www.ow2con.org/view/2020/Community_Day_Program?year=2020&amp;event=OW2con20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EclipseCon</a:t>
            </a:r>
            <a:r>
              <a:rPr lang="en-US" dirty="0">
                <a:solidFill>
                  <a:schemeClr val="tx1"/>
                </a:solidFill>
              </a:rPr>
              <a:t> 2020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hlinkClick r:id="rId3"/>
              </a:rPr>
              <a:t>https://www.eclipsecon.org/2020/sessions/automated-open-source-compliance-action</a:t>
            </a:r>
            <a:endParaRPr lang="en-US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4546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SSEU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2"/>
              </a:rPr>
              <a:t>https://osseu2020.sched.com/event/eCG2/leveraging-an-open-source-project-catalogue-to-select-the-right-project-marcel-kurzmann-boschio-gmbh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3"/>
              </a:rPr>
              <a:t>https://osseu2020.sched.com/event/eDWk/the-importance-of-non-code-contributions-to-code-centric-open-source-projects-marcel-kurzmann-bosch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hlinkClick r:id="rId4"/>
              </a:rPr>
              <a:t>https://osseu2020.sched.com/event/eNfO/do-we-need-an-industrial-grade-linux-lars-geyer-blaumeiser-boschio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ttps://osseu2020.sched.com/event/eCHF/panel-discussion-follow-up-do-we-need-an-industrial-grade-linux-lars-geyer-blaumeiser-boschio-kate-stewart-the-linux-foundation-jan-kiszka-siemens-ag-guy-lunardi-collabora-limited-andre-barkowski-robert-bosch-gmbh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ny other presentations submitted at the coming Events?</a:t>
            </a:r>
          </a:p>
        </p:txBody>
      </p:sp>
    </p:spTree>
    <p:extLst>
      <p:ext uri="{BB962C8B-B14F-4D97-AF65-F5344CB8AC3E}">
        <p14:creationId xmlns:p14="http://schemas.microsoft.com/office/powerpoint/2010/main" val="1583785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oling setup and use education webin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n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1141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2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of Oct: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est Driven Open Source Compliance Automation: The idea and some first results - Karsten Reincke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One object (small) + Navigation</Name>
  <PpLayout>32</PpLayout>
  <Index>18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6.xml><?xml version="1.0" encoding="utf-8"?>
<p4ppTags>
  <Name>Free Content</Name>
  <PpLayout>11</PpLayout>
  <Index>9</Index>
</p4ppTags>
</file>

<file path=customXml/item17.xml><?xml version="1.0" encoding="utf-8"?>
<p4ppTags>
  <Name>One object (large) + Navigation</Name>
  <PpLayout>32</PpLayout>
  <Index>17</Index>
</p4ppTags>
</file>

<file path=customXml/item18.xml><?xml version="1.0" encoding="utf-8"?>
<p4ppTags/>
</file>

<file path=customXml/item2.xml><?xml version="1.0" encoding="utf-8"?>
<p4ppTags>
  <Name>Two rows + Navigation</Name>
  <PpLayout>32</PpLayout>
  <Index>21</Index>
</p4ppTag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p4ppTags>
  <Name>Four objects</Name>
  <PpLayout>24</PpLayout>
  <Index>15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85D77EE6-52B7-48BE-9EDB-748F1EBB53DE}">
  <ds:schemaRefs/>
</ds:datastoreItem>
</file>

<file path=customXml/itemProps10.xml><?xml version="1.0" encoding="utf-8"?>
<ds:datastoreItem xmlns:ds="http://schemas.openxmlformats.org/officeDocument/2006/customXml" ds:itemID="{7CC5F709-E74B-4E5F-A728-923D5062EBEF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D9FE249F-833E-4CF0-BECB-552D01D7DC9E}">
  <ds:schemaRefs/>
</ds:datastoreItem>
</file>

<file path=customXml/itemProps13.xml><?xml version="1.0" encoding="utf-8"?>
<ds:datastoreItem xmlns:ds="http://schemas.openxmlformats.org/officeDocument/2006/customXml" ds:itemID="{1666F4C2-68F5-4840-A44A-1A646C0925A1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D8097D0C-BE3E-4AEC-9593-65CFCCB19297}">
  <ds:schemaRefs/>
</ds:datastoreItem>
</file>

<file path=customXml/itemProps17.xml><?xml version="1.0" encoding="utf-8"?>
<ds:datastoreItem xmlns:ds="http://schemas.openxmlformats.org/officeDocument/2006/customXml" ds:itemID="{B27F640E-84DF-4F97-BC70-D045F1E6594F}">
  <ds:schemaRefs/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6C79E4F8-DCFB-483C-880A-AEEC6AAFC838}">
  <ds:schemaRefs/>
</ds:datastoreItem>
</file>

<file path=customXml/itemProps3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1581BFFB-B4CE-47A8-BE77-DC1339B1E5A7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1618AA06-B22E-4D19-9680-0D7830426729}">
  <ds:schemaRefs/>
</ds:datastoreItem>
</file>

<file path=customXml/itemProps8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7E35FEDB-1F0E-4D67-A313-4AC59C26FF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3</Words>
  <Application>Microsoft Office PowerPoint</Application>
  <PresentationFormat>Custom</PresentationFormat>
  <Paragraphs>6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Wingdings</vt:lpstr>
      <vt:lpstr>Siemens 2016 – 16:9</vt:lpstr>
      <vt:lpstr>think-cell Folie</vt:lpstr>
      <vt:lpstr>22th meeting OpenChain reference tooling work group</vt:lpstr>
      <vt:lpstr>Agenda</vt:lpstr>
      <vt:lpstr>News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T RDA SSI)</cp:lastModifiedBy>
  <cp:revision>1335</cp:revision>
  <cp:lastPrinted>2018-03-01T11:33:30Z</cp:lastPrinted>
  <dcterms:created xsi:type="dcterms:W3CDTF">2006-04-07T10:01:45Z</dcterms:created>
  <dcterms:modified xsi:type="dcterms:W3CDTF">2020-10-07T17:10:4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